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6"/>
  </p:notesMasterIdLst>
  <p:sldIdLst>
    <p:sldId id="256" r:id="rId2"/>
    <p:sldId id="306" r:id="rId3"/>
    <p:sldId id="324" r:id="rId4"/>
    <p:sldId id="327" r:id="rId5"/>
    <p:sldId id="328" r:id="rId6"/>
    <p:sldId id="312" r:id="rId7"/>
    <p:sldId id="326" r:id="rId8"/>
    <p:sldId id="329" r:id="rId9"/>
    <p:sldId id="330" r:id="rId10"/>
    <p:sldId id="331" r:id="rId11"/>
    <p:sldId id="298" r:id="rId12"/>
    <p:sldId id="332" r:id="rId13"/>
    <p:sldId id="325" r:id="rId14"/>
    <p:sldId id="333" r:id="rId15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84" autoAdjust="0"/>
    <p:restoredTop sz="70888" autoAdjust="0"/>
  </p:normalViewPr>
  <p:slideViewPr>
    <p:cSldViewPr>
      <p:cViewPr>
        <p:scale>
          <a:sx n="80" d="100"/>
          <a:sy n="80" d="100"/>
        </p:scale>
        <p:origin x="-1301" y="-6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43" y="5453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8" d="100"/>
          <a:sy n="68" d="100"/>
        </p:scale>
        <p:origin x="-2544" y="-72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0B1F9C-D4D9-4272-A315-C9A68CBB5628}" type="datetimeFigureOut">
              <a:rPr lang="de-AT" smtClean="0"/>
              <a:pPr/>
              <a:t>11.05.2012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20688" y="0"/>
            <a:ext cx="5544616" cy="4158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188640" y="4343400"/>
            <a:ext cx="6552728" cy="48006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AT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65EB44-2BE6-46B5-9A77-3AC3C76357D0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="" xmlns:p14="http://schemas.microsoft.com/office/powerpoint/2010/main" val="2781449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Die Startfolie</a:t>
            </a:r>
            <a:r>
              <a:rPr lang="de-AT" baseline="0" dirty="0" smtClean="0"/>
              <a:t> enthält wieder eine Modellfrage (bezüglich der Datenbank aus Test Wiederholung)</a:t>
            </a:r>
          </a:p>
          <a:p>
            <a:endParaRPr lang="de-AT" baseline="0" dirty="0" smtClean="0"/>
          </a:p>
          <a:p>
            <a:r>
              <a:rPr lang="de-AT" baseline="0" dirty="0" smtClean="0"/>
              <a:t>Erstellt man eine Tabelle, so soll in einem Feld atomare (also nicht zusammengesetzte) Information gespeichert werden.</a:t>
            </a:r>
          </a:p>
          <a:p>
            <a:r>
              <a:rPr lang="de-AT" baseline="0" dirty="0" smtClean="0"/>
              <a:t>NUR atomare Information (siehe obere Tabelle) kann vernünftig im Rahmen der SQL abgefragt werden.</a:t>
            </a:r>
          </a:p>
          <a:p>
            <a:r>
              <a:rPr lang="de-AT" baseline="0" dirty="0" smtClean="0"/>
              <a:t>Bei Bedarf kann mit Textverkettung   Z.B.  </a:t>
            </a:r>
            <a:r>
              <a:rPr lang="de-AT" baseline="0" dirty="0" err="1" smtClean="0"/>
              <a:t>Select</a:t>
            </a:r>
            <a:r>
              <a:rPr lang="de-AT" baseline="0" dirty="0" smtClean="0"/>
              <a:t>  Firstname &amp; „ „ &amp; </a:t>
            </a:r>
            <a:r>
              <a:rPr lang="de-AT" baseline="0" dirty="0" err="1" smtClean="0"/>
              <a:t>LastName</a:t>
            </a:r>
            <a:r>
              <a:rPr lang="de-AT" baseline="0" dirty="0" smtClean="0"/>
              <a:t> as Name </a:t>
            </a:r>
            <a:r>
              <a:rPr lang="de-AT" baseline="0" dirty="0" err="1" smtClean="0"/>
              <a:t>from</a:t>
            </a:r>
            <a:r>
              <a:rPr lang="de-AT" baseline="0" dirty="0" smtClean="0"/>
              <a:t> </a:t>
            </a:r>
            <a:r>
              <a:rPr lang="de-AT" baseline="0" dirty="0" err="1" smtClean="0"/>
              <a:t>Contacts</a:t>
            </a:r>
            <a:r>
              <a:rPr lang="de-AT" baseline="0" dirty="0" smtClean="0"/>
              <a:t>  </a:t>
            </a:r>
          </a:p>
          <a:p>
            <a:r>
              <a:rPr lang="de-AT" baseline="0" dirty="0" smtClean="0"/>
              <a:t>      den zusammengesetzten Text wieder erzeugen</a:t>
            </a:r>
          </a:p>
          <a:p>
            <a:endParaRPr lang="de-AT" baseline="0" dirty="0" smtClean="0"/>
          </a:p>
          <a:p>
            <a:r>
              <a:rPr lang="de-AT" baseline="0" dirty="0" smtClean="0"/>
              <a:t>Die Tabellenvariante 2 (nur 2 zusammengesetzte Felder) ist daher nicht zu empfehlen!!!!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</a:t>
            </a:fld>
            <a:endParaRPr lang="de-AT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Dieses </a:t>
            </a:r>
            <a:r>
              <a:rPr lang="en-US" baseline="0" dirty="0" err="1" smtClean="0"/>
              <a:t>Formul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at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m</a:t>
            </a:r>
            <a:r>
              <a:rPr lang="en-US" baseline="0" dirty="0" smtClean="0"/>
              <a:t> Original </a:t>
            </a:r>
            <a:r>
              <a:rPr lang="en-US" baseline="0" dirty="0" err="1" smtClean="0"/>
              <a:t>ei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abellarisches</a:t>
            </a:r>
            <a:r>
              <a:rPr lang="en-US" baseline="0" dirty="0" smtClean="0"/>
              <a:t> Layout,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</a:t>
            </a:r>
            <a:r>
              <a:rPr lang="en-US" baseline="0" dirty="0" err="1" smtClean="0"/>
              <a:t>dari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urd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eer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eil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inzugefügt</a:t>
            </a:r>
            <a:r>
              <a:rPr lang="en-US" baseline="0" dirty="0" smtClean="0"/>
              <a:t>, die </a:t>
            </a:r>
            <a:r>
              <a:rPr lang="en-US" baseline="0" dirty="0" err="1" smtClean="0"/>
              <a:t>jetzt</a:t>
            </a:r>
            <a:r>
              <a:rPr lang="en-US" baseline="0" dirty="0" smtClean="0"/>
              <a:t> den </a:t>
            </a:r>
            <a:r>
              <a:rPr lang="en-US" baseline="0" dirty="0" err="1" smtClean="0"/>
              <a:t>Namen</a:t>
            </a:r>
            <a:r>
              <a:rPr lang="en-US" baseline="0" dirty="0" smtClean="0"/>
              <a:t> des Av </a:t>
            </a:r>
            <a:r>
              <a:rPr lang="en-US" baseline="0" dirty="0" err="1" smtClean="0"/>
              <a:t>zeigt</a:t>
            </a:r>
            <a:r>
              <a:rPr lang="en-US" baseline="0" dirty="0" smtClean="0"/>
              <a:t>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Das </a:t>
            </a:r>
            <a:r>
              <a:rPr lang="en-US" baseline="0" dirty="0" err="1" smtClean="0"/>
              <a:t>Unterformul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urd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m</a:t>
            </a:r>
            <a:r>
              <a:rPr lang="en-US" baseline="0" dirty="0" smtClean="0"/>
              <a:t> Layout </a:t>
            </a:r>
            <a:r>
              <a:rPr lang="en-US" baseline="0" dirty="0" err="1" smtClean="0"/>
              <a:t>entfernt</a:t>
            </a:r>
            <a:r>
              <a:rPr lang="en-US" baseline="0" dirty="0" smtClean="0"/>
              <a:t> und </a:t>
            </a:r>
            <a:r>
              <a:rPr lang="en-US" baseline="0" dirty="0" err="1" smtClean="0"/>
              <a:t>is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jetzt</a:t>
            </a:r>
            <a:r>
              <a:rPr lang="en-US" baseline="0" dirty="0" smtClean="0"/>
              <a:t> dank Anker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in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ag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ch</a:t>
            </a:r>
            <a:r>
              <a:rPr lang="en-US" baseline="0" dirty="0" smtClean="0"/>
              <a:t> an die </a:t>
            </a:r>
            <a:r>
              <a:rPr lang="en-US" baseline="0" dirty="0" err="1" smtClean="0"/>
              <a:t>Fenstergröß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nzupassen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Das </a:t>
            </a:r>
            <a:r>
              <a:rPr lang="en-US" baseline="0" dirty="0" err="1" smtClean="0"/>
              <a:t>Anzahl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lass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el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s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rechnet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eld</a:t>
            </a:r>
            <a:r>
              <a:rPr lang="en-US" baseline="0" dirty="0" smtClean="0"/>
              <a:t> und </a:t>
            </a:r>
            <a:r>
              <a:rPr lang="en-US" baseline="0" dirty="0" err="1" smtClean="0"/>
              <a:t>steh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mm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echt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ben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Üb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nterformular</a:t>
            </a:r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1</a:t>
            </a:fld>
            <a:endParaRPr lang="de-AT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20713" y="0"/>
            <a:ext cx="5545137" cy="41592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Dieses </a:t>
            </a:r>
            <a:r>
              <a:rPr lang="en-US" baseline="0" dirty="0" err="1" smtClean="0"/>
              <a:t>Formular</a:t>
            </a:r>
            <a:r>
              <a:rPr lang="en-US" baseline="0" dirty="0" smtClean="0"/>
              <a:t> hat </a:t>
            </a:r>
            <a:r>
              <a:rPr lang="en-US" baseline="0" dirty="0" err="1" smtClean="0"/>
              <a:t>keinerlei</a:t>
            </a:r>
            <a:r>
              <a:rPr lang="en-US" baseline="0" dirty="0" smtClean="0"/>
              <a:t> Layout,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Die </a:t>
            </a:r>
            <a:r>
              <a:rPr lang="en-US" baseline="0" dirty="0" err="1" smtClean="0"/>
              <a:t>Ausrichtung</a:t>
            </a:r>
            <a:r>
              <a:rPr lang="en-US" baseline="0" dirty="0" smtClean="0"/>
              <a:t> und </a:t>
            </a:r>
            <a:r>
              <a:rPr lang="en-US" baseline="0" dirty="0" err="1" smtClean="0"/>
              <a:t>Positionierung</a:t>
            </a:r>
            <a:r>
              <a:rPr lang="en-US" baseline="0" dirty="0" smtClean="0"/>
              <a:t>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 </a:t>
            </a:r>
            <a:r>
              <a:rPr lang="en-US" baseline="0" dirty="0" err="1" smtClean="0"/>
              <a:t>wurd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ur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arkier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ntsprechenden</a:t>
            </a:r>
            <a:r>
              <a:rPr lang="en-US" baseline="0" dirty="0" smtClean="0"/>
              <a:t> Felder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                    </a:t>
            </a:r>
            <a:r>
              <a:rPr lang="en-US" baseline="0" dirty="0" err="1" smtClean="0"/>
              <a:t>rech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austaste</a:t>
            </a:r>
            <a:r>
              <a:rPr lang="en-US" baseline="0" dirty="0" smtClean="0"/>
              <a:t>  “</a:t>
            </a:r>
            <a:r>
              <a:rPr lang="en-US" baseline="0" dirty="0" err="1" smtClean="0"/>
              <a:t>Ausrichten</a:t>
            </a:r>
            <a:r>
              <a:rPr lang="en-US" baseline="0" dirty="0" smtClean="0"/>
              <a:t>” und/</a:t>
            </a:r>
            <a:r>
              <a:rPr lang="en-US" baseline="0" dirty="0" err="1" smtClean="0"/>
              <a:t>oder</a:t>
            </a:r>
            <a:r>
              <a:rPr lang="en-US" baseline="0" dirty="0" smtClean="0"/>
              <a:t> “</a:t>
            </a:r>
            <a:r>
              <a:rPr lang="en-US" baseline="0" dirty="0" err="1" smtClean="0"/>
              <a:t>Größ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ändern</a:t>
            </a:r>
            <a:r>
              <a:rPr lang="en-US" baseline="0" dirty="0" smtClean="0"/>
              <a:t>” </a:t>
            </a:r>
            <a:r>
              <a:rPr lang="en-US" baseline="0" dirty="0" err="1" smtClean="0"/>
              <a:t>erreicht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Besonder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ilfrei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ür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Einstellung</a:t>
            </a:r>
            <a:r>
              <a:rPr lang="en-US" baseline="0" dirty="0" smtClean="0"/>
              <a:t> von </a:t>
            </a:r>
            <a:r>
              <a:rPr lang="en-US" baseline="0" dirty="0" err="1" smtClean="0"/>
              <a:t>Feldhöh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st</a:t>
            </a:r>
            <a:r>
              <a:rPr lang="en-US" baseline="0" dirty="0" smtClean="0"/>
              <a:t>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    </a:t>
            </a:r>
            <a:r>
              <a:rPr lang="en-US" baseline="0" dirty="0" err="1" smtClean="0"/>
              <a:t>Größe</a:t>
            </a:r>
            <a:r>
              <a:rPr lang="en-US" baseline="0" dirty="0" smtClean="0"/>
              <a:t> --- An </a:t>
            </a:r>
            <a:r>
              <a:rPr lang="en-US" baseline="0" dirty="0" err="1" smtClean="0"/>
              <a:t>Textgröße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    (</a:t>
            </a:r>
            <a:r>
              <a:rPr lang="en-US" baseline="0" dirty="0" err="1" smtClean="0"/>
              <a:t>Hinwei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uvor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Höh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ändisch</a:t>
            </a:r>
            <a:r>
              <a:rPr lang="en-US" baseline="0" dirty="0" smtClean="0"/>
              <a:t> auf ca. 1 </a:t>
            </a:r>
            <a:r>
              <a:rPr lang="en-US" baseline="0" dirty="0" err="1" smtClean="0"/>
              <a:t>Zeil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der</a:t>
            </a:r>
            <a:r>
              <a:rPr lang="en-US" baseline="0" dirty="0" smtClean="0"/>
              <a:t> ca. 2 </a:t>
            </a:r>
            <a:r>
              <a:rPr lang="en-US" baseline="0" dirty="0" err="1" smtClean="0"/>
              <a:t>Zeil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stellen</a:t>
            </a:r>
            <a:r>
              <a:rPr lang="en-US" baseline="0" dirty="0" smtClean="0"/>
              <a:t>)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Die </a:t>
            </a:r>
            <a:r>
              <a:rPr lang="en-US" baseline="0" dirty="0" err="1" smtClean="0"/>
              <a:t>meist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rechneten</a:t>
            </a:r>
            <a:r>
              <a:rPr lang="en-US" baseline="0" dirty="0" smtClean="0"/>
              <a:t> Felder </a:t>
            </a:r>
            <a:r>
              <a:rPr lang="en-US" baseline="0" dirty="0" err="1" smtClean="0"/>
              <a:t>hab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einen</a:t>
            </a:r>
            <a:r>
              <a:rPr lang="en-US" baseline="0" dirty="0" smtClean="0"/>
              <a:t> Rand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und </a:t>
            </a:r>
            <a:r>
              <a:rPr lang="en-US" baseline="0" dirty="0" err="1" smtClean="0"/>
              <a:t>sin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ittel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ktiviert</a:t>
            </a:r>
            <a:r>
              <a:rPr lang="en-US" baseline="0" dirty="0" smtClean="0"/>
              <a:t> und </a:t>
            </a:r>
            <a:r>
              <a:rPr lang="en-US" baseline="0" dirty="0" err="1" smtClean="0"/>
              <a:t>Gesperr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stellungen</a:t>
            </a:r>
            <a:r>
              <a:rPr lang="en-US" baseline="0" dirty="0" smtClean="0"/>
              <a:t> so </a:t>
            </a:r>
            <a:r>
              <a:rPr lang="en-US" baseline="0" dirty="0" err="1" smtClean="0"/>
              <a:t>eingestellt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das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Cursor </a:t>
            </a:r>
            <a:r>
              <a:rPr lang="en-US" baseline="0" dirty="0" err="1" smtClean="0"/>
              <a:t>nich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h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ineinkann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2</a:t>
            </a:fld>
            <a:endParaRPr lang="de-AT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20713" y="0"/>
            <a:ext cx="5545137" cy="41592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Ei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eer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eu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ormul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rstell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oll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reit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je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chaffen</a:t>
            </a:r>
            <a:r>
              <a:rPr lang="en-US" baseline="0" dirty="0" smtClean="0"/>
              <a:t>,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Mittel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echt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austas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ormularkopfberei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nzeig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benfalls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</a:t>
            </a:r>
            <a:r>
              <a:rPr lang="en-US" baseline="0" dirty="0" err="1" smtClean="0"/>
              <a:t>Hi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urd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ormularkopf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reit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füllt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Wi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oll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i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ei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t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nzeigen</a:t>
            </a:r>
            <a:r>
              <a:rPr lang="en-US" baseline="0" dirty="0" smtClean="0"/>
              <a:t> (</a:t>
            </a:r>
            <a:r>
              <a:rPr lang="en-US" baseline="0" dirty="0" err="1" smtClean="0"/>
              <a:t>kei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tensatzquelle</a:t>
            </a:r>
            <a:r>
              <a:rPr lang="en-US" baseline="0" dirty="0" smtClean="0"/>
              <a:t>)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ollen</a:t>
            </a:r>
            <a:r>
              <a:rPr lang="en-US" baseline="0" dirty="0" smtClean="0"/>
              <a:t> 2 </a:t>
            </a:r>
            <a:r>
              <a:rPr lang="en-US" baseline="0" dirty="0" err="1" smtClean="0"/>
              <a:t>Schaltfläch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f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ormular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welche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ander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ormular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öffnen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Elemen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m</a:t>
            </a:r>
            <a:r>
              <a:rPr lang="en-US" baseline="0" dirty="0" smtClean="0"/>
              <a:t> Toolbar </a:t>
            </a:r>
            <a:r>
              <a:rPr lang="en-US" baseline="0" dirty="0" err="1" smtClean="0"/>
              <a:t>lass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ich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it</a:t>
            </a:r>
            <a:r>
              <a:rPr lang="en-US" baseline="0" dirty="0" smtClean="0"/>
              <a:t> drag and drop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Sonder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u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i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b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swählen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unt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licken</a:t>
            </a:r>
            <a:r>
              <a:rPr lang="en-US" baseline="0" dirty="0" smtClean="0"/>
              <a:t> ins </a:t>
            </a:r>
            <a:r>
              <a:rPr lang="en-US" baseline="0" dirty="0" err="1" smtClean="0"/>
              <a:t>Formul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ringen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Be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chaltfläch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tartet</a:t>
            </a:r>
            <a:r>
              <a:rPr lang="en-US" baseline="0" dirty="0" smtClean="0"/>
              <a:t> in </a:t>
            </a:r>
            <a:r>
              <a:rPr lang="en-US" baseline="0" dirty="0" err="1" smtClean="0"/>
              <a:t>Folg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ssistent</a:t>
            </a:r>
            <a:r>
              <a:rPr lang="en-US" baseline="0" dirty="0" smtClean="0"/>
              <a:t>,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</a:t>
            </a:r>
            <a:r>
              <a:rPr lang="en-US" baseline="0" dirty="0" err="1" smtClean="0"/>
              <a:t>inde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i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ns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Formul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öffn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ktio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rstell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assen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I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intergrun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ntsteh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reignisprocedur</a:t>
            </a:r>
            <a:r>
              <a:rPr lang="en-US" baseline="0" dirty="0" smtClean="0"/>
              <a:t> in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rogrammiersprache</a:t>
            </a:r>
            <a:r>
              <a:rPr lang="en-US" baseline="0" dirty="0" smtClean="0"/>
              <a:t> VBA</a:t>
            </a:r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3</a:t>
            </a:fld>
            <a:endParaRPr lang="de-AT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20713" y="0"/>
            <a:ext cx="5545137" cy="41592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Gleich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i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2. </a:t>
            </a:r>
            <a:r>
              <a:rPr lang="en-US" baseline="0" dirty="0" err="1" smtClean="0"/>
              <a:t>Schaltfläche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oll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ngefähr</a:t>
            </a:r>
            <a:r>
              <a:rPr lang="en-US" baseline="0" dirty="0" smtClean="0"/>
              <a:t> so </a:t>
            </a:r>
            <a:r>
              <a:rPr lang="en-US" baseline="0" dirty="0" err="1" smtClean="0"/>
              <a:t>aussehen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Über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Eigenschaftseinstellung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önnte</a:t>
            </a:r>
            <a:r>
              <a:rPr lang="en-US" baseline="0" dirty="0" smtClean="0"/>
              <a:t> man </a:t>
            </a:r>
            <a:r>
              <a:rPr lang="en-US" baseline="0" dirty="0" err="1" smtClean="0"/>
              <a:t>no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arkierer</a:t>
            </a:r>
            <a:r>
              <a:rPr lang="en-US" baseline="0" dirty="0" smtClean="0"/>
              <a:t> und Navigation </a:t>
            </a:r>
            <a:r>
              <a:rPr lang="en-US" baseline="0" dirty="0" err="1" smtClean="0"/>
              <a:t>ausblenden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In den </a:t>
            </a:r>
            <a:r>
              <a:rPr lang="en-US" baseline="0" dirty="0" err="1" smtClean="0"/>
              <a:t>Datenban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ption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an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gestell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erden</a:t>
            </a:r>
            <a:r>
              <a:rPr lang="en-US" baseline="0" dirty="0" smtClean="0"/>
              <a:t>,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Dass</a:t>
            </a:r>
            <a:r>
              <a:rPr lang="en-US" baseline="0" dirty="0" smtClean="0"/>
              <a:t> das </a:t>
            </a:r>
            <a:r>
              <a:rPr lang="en-US" baseline="0" dirty="0" err="1" smtClean="0"/>
              <a:t>Formul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u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gin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tomatis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tartet</a:t>
            </a:r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4</a:t>
            </a:fld>
            <a:endParaRPr lang="de-AT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Es gibt gestapeltes und tabellarisches Layout,</a:t>
            </a:r>
          </a:p>
          <a:p>
            <a:r>
              <a:rPr lang="de-AT" dirty="0" smtClean="0"/>
              <a:t>    zusätzlich noch die Anker – Möglichkeit </a:t>
            </a:r>
          </a:p>
          <a:p>
            <a:endParaRPr lang="de-AT" dirty="0" smtClean="0"/>
          </a:p>
          <a:p>
            <a:r>
              <a:rPr lang="de-AT" dirty="0" smtClean="0"/>
              <a:t>Weil man in Access 2007 die Layouts nur schwer bearbeiten kann</a:t>
            </a:r>
          </a:p>
          <a:p>
            <a:r>
              <a:rPr lang="de-AT" dirty="0" smtClean="0"/>
              <a:t>    </a:t>
            </a:r>
            <a:r>
              <a:rPr lang="de-AT" dirty="0" err="1" smtClean="0"/>
              <a:t>muss</a:t>
            </a:r>
            <a:r>
              <a:rPr lang="de-AT" dirty="0" smtClean="0"/>
              <a:t> man dort mittels Layout entfernen die von den </a:t>
            </a:r>
            <a:r>
              <a:rPr lang="de-AT" dirty="0" err="1" smtClean="0"/>
              <a:t>Wizards</a:t>
            </a:r>
            <a:r>
              <a:rPr lang="de-AT" dirty="0" smtClean="0"/>
              <a:t> erstellten Layouts oft wieder entfernen</a:t>
            </a:r>
          </a:p>
          <a:p>
            <a:r>
              <a:rPr lang="de-AT" dirty="0" smtClean="0"/>
              <a:t>    wenn man eigenständige Formulare haben will</a:t>
            </a:r>
          </a:p>
          <a:p>
            <a:r>
              <a:rPr lang="de-AT" dirty="0" smtClean="0"/>
              <a:t>In Access 2010 kann man aber mittels Anordnen Menü sowie der rechten Maustaste </a:t>
            </a:r>
            <a:br>
              <a:rPr lang="de-AT" dirty="0" smtClean="0"/>
            </a:br>
            <a:r>
              <a:rPr lang="de-AT" dirty="0" smtClean="0"/>
              <a:t>                       die Layoutstrukturen akzeptabel bearbeiten</a:t>
            </a:r>
          </a:p>
          <a:p>
            <a:endParaRPr lang="de-AT" dirty="0" smtClean="0"/>
          </a:p>
          <a:p>
            <a:r>
              <a:rPr lang="de-AT" dirty="0" smtClean="0"/>
              <a:t>Lediglich Anker (auf allen Seiten setzen) ist für Unterformulare immer zu empfehlen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3</a:t>
            </a:fld>
            <a:endParaRPr lang="de-AT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Tabellarisches Layout sorgt automatisch</a:t>
            </a:r>
            <a:r>
              <a:rPr lang="de-AT" baseline="0" dirty="0" smtClean="0"/>
              <a:t> für angenehm ausgerichtete Felder,</a:t>
            </a:r>
          </a:p>
          <a:p>
            <a:r>
              <a:rPr lang="de-AT" baseline="0" dirty="0" smtClean="0"/>
              <a:t>Besteht aber auch auf tabellarische Ausricht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4</a:t>
            </a:fld>
            <a:endParaRPr lang="de-AT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Alle älteren Access Anwendungen haben keine Layout Controls</a:t>
            </a:r>
          </a:p>
          <a:p>
            <a:r>
              <a:rPr lang="de-AT" dirty="0" smtClean="0"/>
              <a:t>Man konnte (mehrere)</a:t>
            </a:r>
            <a:r>
              <a:rPr lang="de-AT" baseline="0" dirty="0" smtClean="0"/>
              <a:t> </a:t>
            </a:r>
            <a:r>
              <a:rPr lang="de-AT" dirty="0" smtClean="0"/>
              <a:t>Felder markieren und mit den Größe Abstand bzw. Ausrichten </a:t>
            </a:r>
            <a:r>
              <a:rPr lang="de-AT" dirty="0" err="1" smtClean="0"/>
              <a:t>Toolbars</a:t>
            </a:r>
            <a:r>
              <a:rPr lang="de-AT" baseline="0" dirty="0" smtClean="0"/>
              <a:t> arbeiten</a:t>
            </a:r>
          </a:p>
          <a:p>
            <a:r>
              <a:rPr lang="de-AT" baseline="0" dirty="0" smtClean="0"/>
              <a:t>    (sind auch mit rechter Maustaste schnell erreichbar)</a:t>
            </a:r>
          </a:p>
          <a:p>
            <a:endParaRPr lang="de-AT" baseline="0" dirty="0" smtClean="0"/>
          </a:p>
          <a:p>
            <a:r>
              <a:rPr lang="de-AT" baseline="0" dirty="0" smtClean="0"/>
              <a:t>Für Unterformulare wird die Ankereinstellung dringend angeraten</a:t>
            </a:r>
          </a:p>
          <a:p>
            <a:r>
              <a:rPr lang="de-AT" baseline="0" dirty="0" smtClean="0"/>
              <a:t>    (bei größeren Fenstern ist das Unterform dann ebenfalls größer)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5</a:t>
            </a:fld>
            <a:endParaRPr lang="de-AT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6</a:t>
            </a:fld>
            <a:endParaRPr lang="de-AT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Formulare, welche nicht an Daten (Tabellen, Abfragen) gebunden sind </a:t>
            </a:r>
          </a:p>
          <a:p>
            <a:r>
              <a:rPr lang="de-AT" dirty="0" smtClean="0"/>
              <a:t>      Controls</a:t>
            </a:r>
            <a:r>
              <a:rPr lang="de-AT" baseline="0" dirty="0" smtClean="0"/>
              <a:t> ohne </a:t>
            </a:r>
            <a:r>
              <a:rPr lang="de-AT" baseline="0" dirty="0" err="1" smtClean="0"/>
              <a:t>Steuerelemntinhalt</a:t>
            </a:r>
            <a:r>
              <a:rPr lang="de-AT" baseline="0" dirty="0" smtClean="0"/>
              <a:t> sind „ungebunden“</a:t>
            </a:r>
            <a:endParaRPr lang="de-AT" dirty="0" smtClean="0"/>
          </a:p>
          <a:p>
            <a:r>
              <a:rPr lang="de-AT" dirty="0" smtClean="0"/>
              <a:t>      wären möglich aber machen viel Arbeit, </a:t>
            </a:r>
          </a:p>
          <a:p>
            <a:r>
              <a:rPr lang="de-AT" dirty="0" smtClean="0"/>
              <a:t>      weil sich nicht automatisch Daten zeigen, keine</a:t>
            </a:r>
            <a:r>
              <a:rPr lang="de-AT" baseline="0" dirty="0" smtClean="0"/>
              <a:t> Navigation haben,</a:t>
            </a:r>
          </a:p>
          <a:p>
            <a:r>
              <a:rPr lang="de-AT" baseline="0" dirty="0" smtClean="0"/>
              <a:t>       keine Eingaben speichern usw.</a:t>
            </a:r>
          </a:p>
          <a:p>
            <a:r>
              <a:rPr lang="de-AT" baseline="0" dirty="0" smtClean="0"/>
              <a:t>Wer grundsätzlich ungebunden arbeitet hat Access Formulare nicht wirklich verstanden und ist nur codegeil</a:t>
            </a:r>
          </a:p>
          <a:p>
            <a:endParaRPr lang="de-AT" baseline="0" dirty="0" smtClean="0"/>
          </a:p>
          <a:p>
            <a:r>
              <a:rPr lang="de-AT" baseline="0" dirty="0" smtClean="0"/>
              <a:t>Die existierenden Tabellen und Beziehungen</a:t>
            </a:r>
          </a:p>
          <a:p>
            <a:r>
              <a:rPr lang="de-AT" baseline="0" dirty="0" smtClean="0"/>
              <a:t>  sind die Models, daher müssen sich die Formulare auch danach richten.</a:t>
            </a:r>
          </a:p>
          <a:p>
            <a:r>
              <a:rPr lang="de-AT" baseline="0" dirty="0" smtClean="0"/>
              <a:t>       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7</a:t>
            </a:fld>
            <a:endParaRPr lang="de-AT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baseline="0" dirty="0" smtClean="0"/>
              <a:t>Will man ein Formular für die Daten von Tabelle </a:t>
            </a:r>
            <a:r>
              <a:rPr lang="de-AT" baseline="0" dirty="0" err="1" smtClean="0"/>
              <a:t>xx</a:t>
            </a:r>
            <a:r>
              <a:rPr lang="de-AT" baseline="0" dirty="0" smtClean="0"/>
              <a:t> erstellen,</a:t>
            </a:r>
          </a:p>
          <a:p>
            <a:r>
              <a:rPr lang="de-AT" baseline="0" dirty="0" smtClean="0"/>
              <a:t>so bestimmt die Art der Beziehung die Tabelle </a:t>
            </a:r>
            <a:r>
              <a:rPr lang="de-AT" baseline="0" dirty="0" err="1" smtClean="0"/>
              <a:t>xx</a:t>
            </a:r>
            <a:r>
              <a:rPr lang="de-AT" baseline="0" dirty="0" smtClean="0"/>
              <a:t> zu anderen Tabellen hat</a:t>
            </a:r>
          </a:p>
          <a:p>
            <a:r>
              <a:rPr lang="de-AT" baseline="0" dirty="0" smtClean="0"/>
              <a:t>Mit welchen Controls man die anderen Daten anzeigt</a:t>
            </a:r>
          </a:p>
          <a:p>
            <a:endParaRPr lang="de-AT" baseline="0" dirty="0" smtClean="0"/>
          </a:p>
          <a:p>
            <a:r>
              <a:rPr lang="de-AT" baseline="0" dirty="0" smtClean="0"/>
              <a:t>Steht in Tabelle </a:t>
            </a:r>
            <a:r>
              <a:rPr lang="de-AT" baseline="0" dirty="0" err="1" smtClean="0"/>
              <a:t>xx</a:t>
            </a:r>
            <a:r>
              <a:rPr lang="de-AT" baseline="0" dirty="0" smtClean="0"/>
              <a:t> der Fremdschlüssel (Liegt es an der n Seite der Beziehung) </a:t>
            </a:r>
            <a:r>
              <a:rPr lang="de-AT" baseline="0" dirty="0" smtClean="0">
                <a:sym typeface="Wingdings" pitchFamily="2" charset="2"/>
              </a:rPr>
              <a:t> Combobox</a:t>
            </a:r>
            <a:r>
              <a:rPr lang="de-AT" baseline="0" dirty="0" smtClean="0"/>
              <a:t>       </a:t>
            </a:r>
          </a:p>
          <a:p>
            <a:r>
              <a:rPr lang="de-AT" baseline="0" dirty="0" smtClean="0"/>
              <a:t>Steht in Tabelle </a:t>
            </a:r>
            <a:r>
              <a:rPr lang="de-AT" baseline="0" dirty="0" err="1" smtClean="0"/>
              <a:t>xx</a:t>
            </a:r>
            <a:r>
              <a:rPr lang="de-AT" baseline="0" dirty="0" smtClean="0"/>
              <a:t> der Primärschlüssel (Liegt es an der 1 Seite der Beziehung) </a:t>
            </a:r>
            <a:r>
              <a:rPr lang="de-AT" baseline="0" dirty="0" smtClean="0">
                <a:sym typeface="Wingdings" pitchFamily="2" charset="2"/>
              </a:rPr>
              <a:t> Unterformular</a:t>
            </a:r>
          </a:p>
          <a:p>
            <a:r>
              <a:rPr lang="de-AT" baseline="0" dirty="0" smtClean="0">
                <a:sym typeface="Wingdings" pitchFamily="2" charset="2"/>
              </a:rPr>
              <a:t>                       (weil mehrere Datensätze angezeigt werden müssen)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8</a:t>
            </a:fld>
            <a:endParaRPr lang="de-AT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baseline="0" dirty="0" smtClean="0"/>
              <a:t>Man kann in Unterformularen problemlos mehrere Felder unterbringen,</a:t>
            </a:r>
          </a:p>
          <a:p>
            <a:r>
              <a:rPr lang="de-AT" baseline="0" dirty="0" smtClean="0"/>
              <a:t>Auch kann man das Unterformular sowohl in Datenblattansicht als auch als Endlosformular anzeigen</a:t>
            </a:r>
          </a:p>
          <a:p>
            <a:r>
              <a:rPr lang="de-AT" baseline="0" dirty="0" smtClean="0"/>
              <a:t>          und hat damit alle Möglichkeiten beliebiger Datendarstellung</a:t>
            </a:r>
          </a:p>
          <a:p>
            <a:endParaRPr lang="de-AT" baseline="0" dirty="0" smtClean="0"/>
          </a:p>
          <a:p>
            <a:r>
              <a:rPr lang="de-AT" baseline="0" dirty="0" smtClean="0"/>
              <a:t>Ein Combobox zeigt aber nur einen Wert an, obwohl sie sehr wohl über mehrere Spalten verfügen kann.</a:t>
            </a:r>
          </a:p>
          <a:p>
            <a:endParaRPr lang="de-AT" baseline="0" dirty="0" smtClean="0"/>
          </a:p>
          <a:p>
            <a:r>
              <a:rPr lang="de-AT" baseline="0" dirty="0" smtClean="0"/>
              <a:t>Mit einem berechneten Feld  (Steuerelementinhalt beginnt mit =) kann man sehr einfach die </a:t>
            </a:r>
          </a:p>
          <a:p>
            <a:r>
              <a:rPr lang="de-AT" baseline="0" dirty="0" smtClean="0"/>
              <a:t>Daten aus anderen Spalten zeigen.</a:t>
            </a:r>
          </a:p>
          <a:p>
            <a:r>
              <a:rPr lang="de-AT" baseline="0" dirty="0" smtClean="0"/>
              <a:t>Berechnete Felder sind nicht veränderbar!!</a:t>
            </a:r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9</a:t>
            </a:fld>
            <a:endParaRPr lang="de-AT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baseline="0" dirty="0" smtClean="0"/>
              <a:t>Alternativ kann man auch in der Datensatzquelle des Formulars </a:t>
            </a:r>
          </a:p>
          <a:p>
            <a:r>
              <a:rPr lang="de-AT" baseline="0" dirty="0" smtClean="0"/>
              <a:t>   zusätzlich zur Tabelle klassen noch Abteilungen in einer Abfrage unterbringen</a:t>
            </a:r>
          </a:p>
          <a:p>
            <a:endParaRPr lang="de-AT" baseline="0" dirty="0" smtClean="0"/>
          </a:p>
          <a:p>
            <a:r>
              <a:rPr lang="de-AT" baseline="0" dirty="0" err="1" smtClean="0"/>
              <a:t>Select</a:t>
            </a:r>
            <a:r>
              <a:rPr lang="de-AT" baseline="0" dirty="0" smtClean="0"/>
              <a:t> </a:t>
            </a:r>
            <a:r>
              <a:rPr lang="de-AT" baseline="0" dirty="0" err="1" smtClean="0"/>
              <a:t>Abt_Nr</a:t>
            </a:r>
            <a:r>
              <a:rPr lang="de-AT" baseline="0" dirty="0" smtClean="0"/>
              <a:t>, </a:t>
            </a:r>
            <a:r>
              <a:rPr lang="de-AT" baseline="0" dirty="0" err="1" smtClean="0"/>
              <a:t>Abt_Leiter</a:t>
            </a:r>
            <a:r>
              <a:rPr lang="de-AT" baseline="0" dirty="0" smtClean="0"/>
              <a:t>, </a:t>
            </a:r>
            <a:r>
              <a:rPr lang="de-AT" baseline="0" dirty="0" err="1" smtClean="0"/>
              <a:t>K_Nr</a:t>
            </a:r>
            <a:r>
              <a:rPr lang="de-AT" baseline="0" dirty="0" smtClean="0"/>
              <a:t>, </a:t>
            </a:r>
            <a:r>
              <a:rPr lang="de-AT" baseline="0" dirty="0" err="1" smtClean="0"/>
              <a:t>K_Jahrsem</a:t>
            </a:r>
            <a:r>
              <a:rPr lang="de-AT" baseline="0" dirty="0" smtClean="0"/>
              <a:t>, </a:t>
            </a:r>
            <a:r>
              <a:rPr lang="de-AT" baseline="0" dirty="0" err="1" smtClean="0"/>
              <a:t>K_Vorstand</a:t>
            </a:r>
            <a:endParaRPr lang="de-AT" baseline="0" dirty="0" smtClean="0"/>
          </a:p>
          <a:p>
            <a:r>
              <a:rPr lang="de-AT" baseline="0" dirty="0" err="1" smtClean="0"/>
              <a:t>from</a:t>
            </a:r>
            <a:r>
              <a:rPr lang="de-AT" baseline="0" dirty="0" smtClean="0"/>
              <a:t> Abteilungen inner </a:t>
            </a:r>
            <a:r>
              <a:rPr lang="de-AT" baseline="0" dirty="0" err="1" smtClean="0"/>
              <a:t>join</a:t>
            </a:r>
            <a:r>
              <a:rPr lang="de-AT" baseline="0" dirty="0" smtClean="0"/>
              <a:t> Klassen ON </a:t>
            </a:r>
            <a:r>
              <a:rPr lang="de-AT" baseline="0" dirty="0" err="1" smtClean="0"/>
              <a:t>Abteilung.Abt_ID</a:t>
            </a:r>
            <a:r>
              <a:rPr lang="de-AT" baseline="0" dirty="0" smtClean="0"/>
              <a:t> = </a:t>
            </a:r>
            <a:r>
              <a:rPr lang="de-AT" baseline="0" dirty="0" err="1" smtClean="0"/>
              <a:t>Klassen.K_Abteilung</a:t>
            </a:r>
            <a:endParaRPr lang="de-AT" baseline="0" dirty="0" smtClean="0"/>
          </a:p>
          <a:p>
            <a:endParaRPr lang="de-AT" baseline="0" dirty="0" smtClean="0"/>
          </a:p>
          <a:p>
            <a:r>
              <a:rPr lang="de-AT" baseline="0" dirty="0" smtClean="0"/>
              <a:t>Hinweis 1   die Felder von Abteilung sind hier veränderbar !!</a:t>
            </a:r>
          </a:p>
          <a:p>
            <a:endParaRPr lang="de-AT" baseline="0" dirty="0" smtClean="0"/>
          </a:p>
          <a:p>
            <a:r>
              <a:rPr lang="de-AT" baseline="0" dirty="0" smtClean="0"/>
              <a:t>Hinweis 2  Beachten Sie unbedingt, </a:t>
            </a:r>
            <a:r>
              <a:rPr lang="de-AT" baseline="0" dirty="0" err="1" smtClean="0"/>
              <a:t>dass</a:t>
            </a:r>
            <a:r>
              <a:rPr lang="de-AT" baseline="0" dirty="0" smtClean="0"/>
              <a:t> die Abfrage pro Klasse einen Datensatz ausgibt,</a:t>
            </a:r>
          </a:p>
          <a:p>
            <a:r>
              <a:rPr lang="de-AT" baseline="0" dirty="0" smtClean="0"/>
              <a:t>                ansonsten verwirrt man den Benutzer</a:t>
            </a:r>
          </a:p>
          <a:p>
            <a:r>
              <a:rPr lang="de-AT" baseline="0" dirty="0" smtClean="0"/>
              <a:t>                In diesem Fall eventuell RIGHT JOIN verwenden, weil sonst Klassen ohne </a:t>
            </a:r>
            <a:r>
              <a:rPr lang="de-AT" baseline="0" smtClean="0"/>
              <a:t>Abteilung fehlen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0</a:t>
            </a:fld>
            <a:endParaRPr lang="de-AT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6048672" cy="1282154"/>
          </a:xfrm>
          <a:noFill/>
        </p:spPr>
        <p:txBody>
          <a:bodyPr>
            <a:normAutofit/>
          </a:bodyPr>
          <a:lstStyle>
            <a:lvl1pPr marL="0" indent="0">
              <a:defRPr sz="3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659BA9-D4A2-4974-B0A4-496C727882B1}" type="datetime1">
              <a:rPr lang="de-DE" smtClean="0"/>
              <a:pPr/>
              <a:t>11.05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251520" y="6309320"/>
            <a:ext cx="32403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dirty="0" smtClean="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01</a:t>
            </a:r>
            <a:endParaRPr lang="de-AT" dirty="0">
              <a:solidFill>
                <a:schemeClr val="tx1">
                  <a:lumMod val="50000"/>
                  <a:lumOff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60499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1A6FEC-2C28-4AC6-8084-72439C930F7B}" type="datetime1">
              <a:rPr lang="de-DE" smtClean="0"/>
              <a:pPr/>
              <a:t>11.05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7380312" y="6298922"/>
            <a:ext cx="936104" cy="365125"/>
          </a:xfrm>
        </p:spPr>
        <p:txBody>
          <a:bodyPr/>
          <a:lstStyle/>
          <a:p>
            <a:fld id="{1CEECB6C-7AC0-49CE-A0AB-6987B2290DED}" type="datetime1">
              <a:rPr lang="de-DE" smtClean="0"/>
              <a:pPr/>
              <a:t>11.05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139952" y="6309320"/>
            <a:ext cx="3168352" cy="365125"/>
          </a:xfrm>
        </p:spPr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88424" y="6289093"/>
            <a:ext cx="432048" cy="365125"/>
          </a:xfrm>
        </p:spPr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E0D15-7462-40D7-BBE7-A80B4E765789}" type="datetime1">
              <a:rPr lang="de-DE" smtClean="0"/>
              <a:pPr/>
              <a:t>11.05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273CE-2723-4D1E-9275-1374613DC6A3}" type="datetime1">
              <a:rPr lang="de-DE" smtClean="0"/>
              <a:pPr/>
              <a:t>11.05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395536" y="1124744"/>
            <a:ext cx="8424936" cy="5001419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580909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4778" y="1124744"/>
            <a:ext cx="4100264" cy="500141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20208" y="1124744"/>
            <a:ext cx="4100264" cy="500141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736E1C-61AF-4B5F-94AD-292A8821161B}" type="datetime1">
              <a:rPr lang="de-DE" smtClean="0"/>
              <a:pPr/>
              <a:t>11.05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7B253A-9148-41AA-8104-CF6B296C3813}" type="datetime1">
              <a:rPr lang="de-DE" smtClean="0"/>
              <a:pPr/>
              <a:t>11.05.2012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9E676A-A8AF-4F77-8884-1612DAC5D386}" type="datetime1">
              <a:rPr lang="de-DE" smtClean="0"/>
              <a:pPr/>
              <a:t>11.05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F4A6FA-A494-48E0-9AC7-BC4F1720BBC2}" type="datetime1">
              <a:rPr lang="de-DE" smtClean="0"/>
              <a:pPr/>
              <a:t>11.05.201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72" descr="MED_Befundung_Banner_Korr01_ECI_A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980" t="-174" r="13318" b="16530"/>
          <a:stretch>
            <a:fillRect/>
          </a:stretch>
        </p:blipFill>
        <p:spPr bwMode="auto">
          <a:xfrm>
            <a:off x="0" y="-18090"/>
            <a:ext cx="9144000" cy="687609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55576" y="260648"/>
            <a:ext cx="7772400" cy="1470025"/>
          </a:xfrm>
        </p:spPr>
        <p:txBody>
          <a:bodyPr/>
          <a:lstStyle>
            <a:lvl1pPr algn="l"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83568" y="2060848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E89EA-1223-4B0B-89C3-2B45EDFEA5B8}" type="datetime1">
              <a:rPr lang="de-DE" smtClean="0"/>
              <a:pPr/>
              <a:t>11.05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CE6B2-8CAB-4138-9B8D-D85947345EB6}" type="datetime1">
              <a:rPr lang="de-DE" smtClean="0"/>
              <a:pPr/>
              <a:t>11.05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9E0846-834F-44D5-BD5B-49A3B76BEE27}" type="datetime1">
              <a:rPr lang="de-DE" smtClean="0"/>
              <a:pPr/>
              <a:t>11.05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-17682" y="202630"/>
            <a:ext cx="8876674" cy="778098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536" y="1124744"/>
            <a:ext cx="8424936" cy="50014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7271792" y="6298922"/>
            <a:ext cx="9361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9CF7F14-78A3-40D6-BCCD-1B0989A7D923}" type="datetime1">
              <a:rPr lang="de-DE" smtClean="0"/>
              <a:pPr/>
              <a:t>11.05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95936" y="6309320"/>
            <a:ext cx="31683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9904" y="6289093"/>
            <a:ext cx="5405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74" y="6309320"/>
            <a:ext cx="3782786" cy="509789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 rot="16200000">
            <a:off x="7031797" y="4463534"/>
            <a:ext cx="38884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AT" sz="14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de-AT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52" r:id="rId3"/>
    <p:sldLayoutId id="2147483653" r:id="rId4"/>
    <p:sldLayoutId id="2147483654" r:id="rId5"/>
    <p:sldLayoutId id="2147483655" r:id="rId6"/>
    <p:sldLayoutId id="2147483649" r:id="rId7"/>
    <p:sldLayoutId id="2147483656" r:id="rId8"/>
    <p:sldLayoutId id="2147483657" r:id="rId9"/>
    <p:sldLayoutId id="2147483658" r:id="rId10"/>
    <p:sldLayoutId id="2147483650" r:id="rId11"/>
    <p:sldLayoutId id="2147483659" r:id="rId12"/>
  </p:sldLayoutIdLst>
  <p:hf hdr="0" dt="0"/>
  <p:txStyles>
    <p:titleStyle>
      <a:lvl1pPr marL="273050" indent="0"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7416824" cy="1282154"/>
          </a:xfrm>
        </p:spPr>
        <p:txBody>
          <a:bodyPr>
            <a:normAutofit fontScale="90000"/>
          </a:bodyPr>
          <a:lstStyle/>
          <a:p>
            <a:r>
              <a:rPr lang="de-AT" dirty="0" smtClean="0"/>
              <a:t>DBIS2 – </a:t>
            </a:r>
            <a:br>
              <a:rPr lang="de-AT" dirty="0" smtClean="0"/>
            </a:br>
            <a:r>
              <a:rPr lang="de-AT" dirty="0" smtClean="0"/>
              <a:t>Datenbanken und Informationssysteme</a:t>
            </a:r>
            <a:endParaRPr lang="de-AT" dirty="0"/>
          </a:p>
        </p:txBody>
      </p:sp>
      <p:pic>
        <p:nvPicPr>
          <p:cNvPr id="102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16216" y="2492896"/>
            <a:ext cx="2627784" cy="2775852"/>
          </a:xfrm>
          <a:prstGeom prst="rect">
            <a:avLst/>
          </a:prstGeom>
          <a:noFill/>
        </p:spPr>
      </p:pic>
      <p:sp>
        <p:nvSpPr>
          <p:cNvPr id="12" name="Abgerundete rechteckige Legende 11"/>
          <p:cNvSpPr/>
          <p:nvPr/>
        </p:nvSpPr>
        <p:spPr>
          <a:xfrm>
            <a:off x="5292080" y="5013176"/>
            <a:ext cx="3240360" cy="1296144"/>
          </a:xfrm>
          <a:prstGeom prst="wedgeRoundRectCallout">
            <a:avLst>
              <a:gd name="adj1" fmla="val -43233"/>
              <a:gd name="adj2" fmla="val -16180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Was ist der Unterschied dieser beiden Tabellen, welcher soll man bevorzugen</a:t>
            </a:r>
            <a:endParaRPr lang="de-AT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7544" y="1688094"/>
            <a:ext cx="6597503" cy="1164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7544" y="3140968"/>
            <a:ext cx="4766537" cy="1296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4090750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ccess Formulare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dirty="0" smtClean="0"/>
              <a:t>Auch mittels Abfrage kann man mehrere Daten zeigen das Klassen-Formular zeigt auch Abteilungsdaten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34209" y="2420888"/>
            <a:ext cx="4528211" cy="259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Abgerundete rechteckige Legende 15"/>
          <p:cNvSpPr/>
          <p:nvPr/>
        </p:nvSpPr>
        <p:spPr>
          <a:xfrm>
            <a:off x="5292080" y="2492896"/>
            <a:ext cx="3456384" cy="2520280"/>
          </a:xfrm>
          <a:prstGeom prst="wedgeRoundRectCallout">
            <a:avLst>
              <a:gd name="adj1" fmla="val -66201"/>
              <a:gd name="adj2" fmla="val 17282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Datensatzquelle ist hier eine Abfrage mit Klassen und Abteilungsdaten, daher können diese auch angezeigt werden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7544" y="5157192"/>
            <a:ext cx="8280920" cy="97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Übung1: Erstellen Sie das folgende Formular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1</a:t>
            </a:fld>
            <a:endParaRPr lang="de-DE" dirty="0"/>
          </a:p>
        </p:txBody>
      </p:sp>
      <p:pic>
        <p:nvPicPr>
          <p:cNvPr id="18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930400" y="1069975"/>
            <a:ext cx="5281613" cy="4716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bgerundete rechteckige Legende 9"/>
          <p:cNvSpPr/>
          <p:nvPr/>
        </p:nvSpPr>
        <p:spPr>
          <a:xfrm>
            <a:off x="179512" y="4509120"/>
            <a:ext cx="2160240" cy="936104"/>
          </a:xfrm>
          <a:prstGeom prst="wedgeRoundRectCallout">
            <a:avLst>
              <a:gd name="adj1" fmla="val 62549"/>
              <a:gd name="adj2" fmla="val -26471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Unterformular wächst mit Fenstergröße</a:t>
            </a:r>
          </a:p>
        </p:txBody>
      </p:sp>
      <p:sp>
        <p:nvSpPr>
          <p:cNvPr id="11" name="Abgerundete rechteckige Legende 10"/>
          <p:cNvSpPr/>
          <p:nvPr/>
        </p:nvSpPr>
        <p:spPr>
          <a:xfrm>
            <a:off x="179512" y="2636912"/>
            <a:ext cx="1872208" cy="792088"/>
          </a:xfrm>
          <a:prstGeom prst="wedgeRoundRectCallout">
            <a:avLst>
              <a:gd name="adj1" fmla="val 96127"/>
              <a:gd name="adj2" fmla="val -20458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Zusatzanzeige Name des AV</a:t>
            </a:r>
          </a:p>
        </p:txBody>
      </p:sp>
      <p:sp>
        <p:nvSpPr>
          <p:cNvPr id="12" name="Abgerundete rechteckige Legende 11"/>
          <p:cNvSpPr/>
          <p:nvPr/>
        </p:nvSpPr>
        <p:spPr>
          <a:xfrm>
            <a:off x="6444208" y="1772816"/>
            <a:ext cx="2520280" cy="936104"/>
          </a:xfrm>
          <a:prstGeom prst="wedgeRoundRectCallout">
            <a:avLst>
              <a:gd name="adj1" fmla="val -27589"/>
              <a:gd name="adj2" fmla="val 79478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Anzahl Klassen, steht immer rechtsbündig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Übung 2 Erstellen Sie das folgende Formular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2</a:t>
            </a:fld>
            <a:endParaRPr lang="de-DE" dirty="0"/>
          </a:p>
        </p:txBody>
      </p:sp>
      <p:pic>
        <p:nvPicPr>
          <p:cNvPr id="18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691680" y="1124744"/>
            <a:ext cx="5684837" cy="3719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Abgerundete rechteckige Legende 6"/>
          <p:cNvSpPr/>
          <p:nvPr/>
        </p:nvSpPr>
        <p:spPr>
          <a:xfrm>
            <a:off x="4211960" y="836712"/>
            <a:ext cx="2160240" cy="1152128"/>
          </a:xfrm>
          <a:prstGeom prst="wedgeRoundRectCallout">
            <a:avLst>
              <a:gd name="adj1" fmla="val -59587"/>
              <a:gd name="adj2" fmla="val 35534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Abteilungsdaten direkt aus Datensatzquelle (Abfrage)</a:t>
            </a:r>
          </a:p>
        </p:txBody>
      </p:sp>
      <p:sp>
        <p:nvSpPr>
          <p:cNvPr id="9" name="Abgerundete rechteckige Legende 8"/>
          <p:cNvSpPr/>
          <p:nvPr/>
        </p:nvSpPr>
        <p:spPr>
          <a:xfrm>
            <a:off x="6516216" y="1988840"/>
            <a:ext cx="1944216" cy="1008112"/>
          </a:xfrm>
          <a:prstGeom prst="wedgeRoundRectCallout">
            <a:avLst>
              <a:gd name="adj1" fmla="val -92215"/>
              <a:gd name="adj2" fmla="val 21480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Comboboxen mit berechneten Feldern</a:t>
            </a:r>
          </a:p>
        </p:txBody>
      </p:sp>
      <p:sp>
        <p:nvSpPr>
          <p:cNvPr id="10" name="Abgerundete rechteckige Legende 9"/>
          <p:cNvSpPr/>
          <p:nvPr/>
        </p:nvSpPr>
        <p:spPr>
          <a:xfrm>
            <a:off x="107504" y="4653136"/>
            <a:ext cx="2160240" cy="936104"/>
          </a:xfrm>
          <a:prstGeom prst="wedgeRoundRectCallout">
            <a:avLst>
              <a:gd name="adj1" fmla="val 39180"/>
              <a:gd name="adj2" fmla="val -76329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Unterformular wächst mit Fenstergröße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98625" y="1374775"/>
            <a:ext cx="5746750" cy="410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Übung </a:t>
            </a:r>
            <a:r>
              <a:rPr lang="de-AT" dirty="0" smtClean="0"/>
              <a:t>3 in simples Startformular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3</a:t>
            </a:fld>
            <a:endParaRPr lang="de-DE" dirty="0"/>
          </a:p>
        </p:txBody>
      </p:sp>
      <p:pic>
        <p:nvPicPr>
          <p:cNvPr id="18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sp>
        <p:nvSpPr>
          <p:cNvPr id="7" name="Abgerundete rechteckige Legende 6"/>
          <p:cNvSpPr/>
          <p:nvPr/>
        </p:nvSpPr>
        <p:spPr>
          <a:xfrm>
            <a:off x="395536" y="1052736"/>
            <a:ext cx="1872208" cy="864096"/>
          </a:xfrm>
          <a:prstGeom prst="wedgeRoundRectCallout">
            <a:avLst>
              <a:gd name="adj1" fmla="val 68620"/>
              <a:gd name="adj2" fmla="val 44352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1. Klicke hier auf Schaltfläche</a:t>
            </a:r>
            <a:endParaRPr lang="de-AT" dirty="0" smtClean="0"/>
          </a:p>
        </p:txBody>
      </p:sp>
      <p:sp>
        <p:nvSpPr>
          <p:cNvPr id="9" name="Abgerundete rechteckige Legende 8"/>
          <p:cNvSpPr/>
          <p:nvPr/>
        </p:nvSpPr>
        <p:spPr>
          <a:xfrm>
            <a:off x="6732240" y="2420888"/>
            <a:ext cx="1944216" cy="1008112"/>
          </a:xfrm>
          <a:prstGeom prst="wedgeRoundRectCallout">
            <a:avLst>
              <a:gd name="adj1" fmla="val -79967"/>
              <a:gd name="adj2" fmla="val 74391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3. Assistent folgen</a:t>
            </a:r>
            <a:endParaRPr lang="de-AT" dirty="0" smtClean="0"/>
          </a:p>
        </p:txBody>
      </p:sp>
      <p:sp>
        <p:nvSpPr>
          <p:cNvPr id="10" name="Abgerundete rechteckige Legende 9"/>
          <p:cNvSpPr/>
          <p:nvPr/>
        </p:nvSpPr>
        <p:spPr>
          <a:xfrm>
            <a:off x="323528" y="4077072"/>
            <a:ext cx="2160240" cy="936104"/>
          </a:xfrm>
          <a:prstGeom prst="wedgeRoundRectCallout">
            <a:avLst>
              <a:gd name="adj1" fmla="val 39180"/>
              <a:gd name="adj2" fmla="val -76329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2. Am Zielort klicken</a:t>
            </a:r>
            <a:endParaRPr lang="de-AT" dirty="0" smtClean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Übung </a:t>
            </a:r>
            <a:r>
              <a:rPr lang="de-AT" dirty="0" smtClean="0"/>
              <a:t>3 in simples Startformular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4</a:t>
            </a:fld>
            <a:endParaRPr lang="de-DE" dirty="0"/>
          </a:p>
        </p:txBody>
      </p:sp>
      <p:pic>
        <p:nvPicPr>
          <p:cNvPr id="18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3568" y="1124744"/>
            <a:ext cx="3390900" cy="2805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Abgerundete rechteckige Legende 11"/>
          <p:cNvSpPr/>
          <p:nvPr/>
        </p:nvSpPr>
        <p:spPr>
          <a:xfrm>
            <a:off x="5796136" y="1844824"/>
            <a:ext cx="2160240" cy="936104"/>
          </a:xfrm>
          <a:prstGeom prst="wedgeRoundRectCallout">
            <a:avLst>
              <a:gd name="adj1" fmla="val -71051"/>
              <a:gd name="adj2" fmla="val 24405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Legen Sie los</a:t>
            </a:r>
            <a:endParaRPr lang="de-AT" dirty="0" smtClean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512" y="202630"/>
            <a:ext cx="8876674" cy="778098"/>
          </a:xfrm>
        </p:spPr>
        <p:txBody>
          <a:bodyPr/>
          <a:lstStyle/>
          <a:p>
            <a:r>
              <a:rPr lang="de-AT" dirty="0" smtClean="0"/>
              <a:t>Lernziele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Rechteck 5"/>
          <p:cNvSpPr/>
          <p:nvPr/>
        </p:nvSpPr>
        <p:spPr>
          <a:xfrm>
            <a:off x="179512" y="1340768"/>
            <a:ext cx="8820472" cy="634019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914400" indent="-914400">
              <a:buAutoNum type="arabicParenR"/>
            </a:pP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Formulare</a:t>
            </a:r>
          </a:p>
          <a:p>
            <a:pPr marL="914400" indent="-914400">
              <a:buAutoNum type="arabicParenR"/>
            </a:pP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LAYOUT in Formularen</a:t>
            </a:r>
          </a:p>
          <a:p>
            <a:pPr marL="914400" indent="-914400">
              <a:buAutoNum type="arabicParenR"/>
            </a:pPr>
            <a:endParaRPr lang="de-DE" sz="4400" b="1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Formulare ÜBUNGEN</a:t>
            </a:r>
          </a:p>
          <a:p>
            <a:pPr lvl="1"/>
            <a:r>
              <a:rPr lang="de-DE" sz="4400" b="1" cap="all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	</a:t>
            </a: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	</a:t>
            </a:r>
            <a:endParaRPr lang="de-DE" sz="4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endParaRPr lang="de-DE" sz="4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endParaRPr lang="de-DE" sz="4400" b="1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endParaRPr lang="de-DE" sz="4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endParaRPr lang="de-DE" sz="5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pic>
        <p:nvPicPr>
          <p:cNvPr id="7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745732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Layout in Access Formular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929411"/>
          </a:xfrm>
        </p:spPr>
        <p:txBody>
          <a:bodyPr>
            <a:normAutofit/>
          </a:bodyPr>
          <a:lstStyle/>
          <a:p>
            <a:r>
              <a:rPr lang="de-AT" dirty="0" err="1" smtClean="0"/>
              <a:t>Layoutcontrols</a:t>
            </a:r>
            <a:r>
              <a:rPr lang="de-AT" dirty="0" smtClean="0"/>
              <a:t> sind Containerelemente, die selbst nicht sichtbar sind aber das Erscheinungsbild der Controls beeinflussen, die sie enthalten.</a:t>
            </a:r>
          </a:p>
          <a:p>
            <a:r>
              <a:rPr lang="de-AT" dirty="0" smtClean="0"/>
              <a:t>Formulare passen sich dadurch besser an unterschiedliche große Bildschirme an.</a:t>
            </a:r>
          </a:p>
          <a:p>
            <a:r>
              <a:rPr lang="de-AT" dirty="0" smtClean="0"/>
              <a:t>Mit 2007 wurden </a:t>
            </a:r>
            <a:r>
              <a:rPr lang="de-AT" dirty="0" err="1" smtClean="0"/>
              <a:t>Layoutcontrols</a:t>
            </a:r>
            <a:r>
              <a:rPr lang="de-AT" dirty="0" smtClean="0"/>
              <a:t> eingeführt, </a:t>
            </a:r>
            <a:br>
              <a:rPr lang="de-AT" dirty="0" smtClean="0"/>
            </a:br>
            <a:r>
              <a:rPr lang="de-AT" dirty="0" smtClean="0"/>
              <a:t>ab 2010 kann man sie auch gut bearbeiten.</a:t>
            </a:r>
          </a:p>
          <a:p>
            <a:r>
              <a:rPr lang="de-AT" dirty="0" smtClean="0"/>
              <a:t>Hier die umfangreiche Layout </a:t>
            </a:r>
            <a:br>
              <a:rPr lang="de-AT" dirty="0" smtClean="0"/>
            </a:br>
            <a:r>
              <a:rPr lang="de-AT" dirty="0" smtClean="0"/>
              <a:t>Symbolleiste in Access 2010</a:t>
            </a:r>
          </a:p>
          <a:p>
            <a:pPr>
              <a:buNone/>
            </a:pPr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11560" y="5301208"/>
            <a:ext cx="8181704" cy="974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308304" y="2204864"/>
            <a:ext cx="1600572" cy="16379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Abgerundete rechteckige Legende 10"/>
          <p:cNvSpPr/>
          <p:nvPr/>
        </p:nvSpPr>
        <p:spPr>
          <a:xfrm>
            <a:off x="7092280" y="4077072"/>
            <a:ext cx="1800200" cy="1080120"/>
          </a:xfrm>
          <a:prstGeom prst="wedgeRoundRectCallout">
            <a:avLst>
              <a:gd name="adj1" fmla="val -20833"/>
              <a:gd name="adj2" fmla="val -76832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err="1" smtClean="0"/>
              <a:t>Strichlierte</a:t>
            </a:r>
            <a:r>
              <a:rPr lang="de-AT" dirty="0" smtClean="0"/>
              <a:t> Linien sind </a:t>
            </a:r>
            <a:r>
              <a:rPr lang="de-AT" dirty="0" err="1" smtClean="0"/>
              <a:t>Layoutcontrols</a:t>
            </a:r>
            <a:endParaRPr lang="de-AT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Layout in Access Formular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268760"/>
            <a:ext cx="8424936" cy="4857403"/>
          </a:xfrm>
        </p:spPr>
        <p:txBody>
          <a:bodyPr>
            <a:normAutofit/>
          </a:bodyPr>
          <a:lstStyle/>
          <a:p>
            <a:r>
              <a:rPr lang="de-AT" dirty="0" smtClean="0"/>
              <a:t>Formular-Assistent und Formular erstellen Formulare mit Layouts, bei Formularentwurf ist das nicht der Fall.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7544" y="2276872"/>
            <a:ext cx="3240360" cy="3639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796136" y="2204864"/>
            <a:ext cx="29718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Abgerundete rechteckige Legende 10"/>
          <p:cNvSpPr/>
          <p:nvPr/>
        </p:nvSpPr>
        <p:spPr>
          <a:xfrm>
            <a:off x="4211960" y="3068960"/>
            <a:ext cx="3816424" cy="864096"/>
          </a:xfrm>
          <a:prstGeom prst="wedgeRoundRectCallout">
            <a:avLst>
              <a:gd name="adj1" fmla="val -67464"/>
              <a:gd name="adj2" fmla="val 17526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Hier die Feldbreite ändern betrifft alle Felder (tabellarisches Layout)</a:t>
            </a:r>
            <a:endParaRPr lang="de-AT" dirty="0"/>
          </a:p>
        </p:txBody>
      </p:sp>
      <p:sp>
        <p:nvSpPr>
          <p:cNvPr id="12" name="Abgerundete rechteckige Legende 11"/>
          <p:cNvSpPr/>
          <p:nvPr/>
        </p:nvSpPr>
        <p:spPr>
          <a:xfrm>
            <a:off x="3995936" y="4509120"/>
            <a:ext cx="4032448" cy="1224136"/>
          </a:xfrm>
          <a:prstGeom prst="wedgeRoundRectCallout">
            <a:avLst>
              <a:gd name="adj1" fmla="val -63444"/>
              <a:gd name="adj2" fmla="val 3650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Einfügen dieser zusätzlichen Layoutzeile in 2007 schwierig, nicht rein tabellarisches Layouts erst in Access 2010 möglich (Zellen verbinden)</a:t>
            </a:r>
            <a:endParaRPr lang="de-AT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Layout in Access Formular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340768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Auch ohne Layout geht’s gut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5535" y="1916832"/>
            <a:ext cx="5753991" cy="3744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bgerundete rechteckige Legende 9"/>
          <p:cNvSpPr/>
          <p:nvPr/>
        </p:nvSpPr>
        <p:spPr>
          <a:xfrm>
            <a:off x="5364088" y="2780928"/>
            <a:ext cx="3672408" cy="864096"/>
          </a:xfrm>
          <a:prstGeom prst="wedgeRoundRectCallout">
            <a:avLst>
              <a:gd name="adj1" fmla="val -35519"/>
              <a:gd name="adj2" fmla="val 71538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Hier wurde das Layout entfernt, daher ist die unterschiedliche Anordnung einfach machbar</a:t>
            </a:r>
            <a:endParaRPr lang="de-AT" dirty="0"/>
          </a:p>
        </p:txBody>
      </p:sp>
      <p:pic>
        <p:nvPicPr>
          <p:cNvPr id="3076" name="Picture 4" descr="C:\Users\psad\AppData\Local\Temp\SNAGHTML486561e9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156176" y="980728"/>
            <a:ext cx="2781300" cy="1028701"/>
          </a:xfrm>
          <a:prstGeom prst="rect">
            <a:avLst/>
          </a:prstGeom>
          <a:noFill/>
        </p:spPr>
      </p:pic>
      <p:sp>
        <p:nvSpPr>
          <p:cNvPr id="12" name="Abgerundete rechteckige Legende 11"/>
          <p:cNvSpPr/>
          <p:nvPr/>
        </p:nvSpPr>
        <p:spPr>
          <a:xfrm>
            <a:off x="6012160" y="2132856"/>
            <a:ext cx="2808312" cy="432048"/>
          </a:xfrm>
          <a:prstGeom prst="wedgeRoundRectCallout">
            <a:avLst>
              <a:gd name="adj1" fmla="val -20287"/>
              <a:gd name="adj2" fmla="val -72077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Dieser </a:t>
            </a:r>
            <a:r>
              <a:rPr lang="de-AT" dirty="0" err="1" smtClean="0"/>
              <a:t>Toolbar</a:t>
            </a:r>
            <a:r>
              <a:rPr lang="de-AT" dirty="0" smtClean="0"/>
              <a:t> hilft dabei</a:t>
            </a:r>
            <a:endParaRPr lang="de-AT" dirty="0"/>
          </a:p>
        </p:txBody>
      </p:sp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444208" y="5589240"/>
            <a:ext cx="2505032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Abgerundete rechteckige Legende 13"/>
          <p:cNvSpPr/>
          <p:nvPr/>
        </p:nvSpPr>
        <p:spPr>
          <a:xfrm>
            <a:off x="5364088" y="4149080"/>
            <a:ext cx="3672408" cy="864096"/>
          </a:xfrm>
          <a:prstGeom prst="wedgeRoundRectCallout">
            <a:avLst>
              <a:gd name="adj1" fmla="val -17104"/>
              <a:gd name="adj2" fmla="val 114528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Das Unterformular hat die folgenden Anker Einstellungen</a:t>
            </a:r>
            <a:endParaRPr lang="de-AT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indent="0" eaLnBrk="1" hangingPunct="1"/>
            <a:endParaRPr lang="de-AT" smtClean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29699" name="Inhaltsplatzhalter 3"/>
          <p:cNvSpPr>
            <a:spLocks noGrp="1"/>
          </p:cNvSpPr>
          <p:nvPr>
            <p:ph idx="1"/>
          </p:nvPr>
        </p:nvSpPr>
        <p:spPr>
          <a:xfrm>
            <a:off x="395288" y="1125538"/>
            <a:ext cx="8424862" cy="5000625"/>
          </a:xfrm>
        </p:spPr>
        <p:txBody>
          <a:bodyPr/>
          <a:lstStyle/>
          <a:p>
            <a:pPr eaLnBrk="1" hangingPunct="1"/>
            <a:endParaRPr lang="de-AT" smtClean="0"/>
          </a:p>
        </p:txBody>
      </p:sp>
      <p:sp>
        <p:nvSpPr>
          <p:cNvPr id="5" name="Rechteck 4"/>
          <p:cNvSpPr/>
          <p:nvPr/>
        </p:nvSpPr>
        <p:spPr>
          <a:xfrm>
            <a:off x="0" y="9525"/>
            <a:ext cx="9144000" cy="68484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AT"/>
          </a:p>
        </p:txBody>
      </p:sp>
      <p:sp>
        <p:nvSpPr>
          <p:cNvPr id="29701" name="Textfeld 5"/>
          <p:cNvSpPr txBox="1">
            <a:spLocks noChangeArrowheads="1"/>
          </p:cNvSpPr>
          <p:nvPr/>
        </p:nvSpPr>
        <p:spPr bwMode="auto">
          <a:xfrm>
            <a:off x="0" y="1124744"/>
            <a:ext cx="9144000" cy="2123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de-AT" sz="6600" dirty="0" smtClean="0">
                <a:latin typeface="Calibri" pitchFamily="34" charset="0"/>
              </a:rPr>
              <a:t>Formulare</a:t>
            </a:r>
            <a:br>
              <a:rPr lang="de-AT" sz="6600" dirty="0" smtClean="0">
                <a:latin typeface="Calibri" pitchFamily="34" charset="0"/>
              </a:rPr>
            </a:br>
            <a:r>
              <a:rPr lang="de-AT" sz="6600" dirty="0" smtClean="0">
                <a:latin typeface="Calibri" pitchFamily="34" charset="0"/>
              </a:rPr>
              <a:t>Übungen</a:t>
            </a:r>
            <a:endParaRPr lang="de-AT" sz="6600" dirty="0">
              <a:latin typeface="Calibri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8311530-E6DA-4A8F-B1D0-3F32FBF6C09A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sp>
        <p:nvSpPr>
          <p:cNvPr id="14" name="Pfeil nach rechts 13"/>
          <p:cNvSpPr/>
          <p:nvPr/>
        </p:nvSpPr>
        <p:spPr>
          <a:xfrm>
            <a:off x="3491880" y="3573016"/>
            <a:ext cx="1080120" cy="72008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="" xmlns:p14="http://schemas.microsoft.com/office/powerpoint/2010/main" val="1396513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ccess Formulare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dirty="0" smtClean="0"/>
              <a:t>Formulare sind datengetrieben!!!!</a:t>
            </a:r>
          </a:p>
          <a:p>
            <a:r>
              <a:rPr lang="de-AT" dirty="0" smtClean="0"/>
              <a:t>Haben eine </a:t>
            </a:r>
            <a:r>
              <a:rPr lang="de-AT" b="1" dirty="0" smtClean="0">
                <a:solidFill>
                  <a:srgbClr val="FF0000"/>
                </a:solidFill>
              </a:rPr>
              <a:t>Datensatzquelle</a:t>
            </a:r>
            <a:endParaRPr lang="de-AT" dirty="0" smtClean="0"/>
          </a:p>
          <a:p>
            <a:r>
              <a:rPr lang="de-AT" dirty="0" smtClean="0"/>
              <a:t>Die Controls einen </a:t>
            </a:r>
            <a:r>
              <a:rPr lang="de-AT" b="1" dirty="0" smtClean="0">
                <a:solidFill>
                  <a:srgbClr val="FF0000"/>
                </a:solidFill>
                <a:sym typeface="Wingdings" pitchFamily="2" charset="2"/>
              </a:rPr>
              <a:t>Steuerelementinhalt</a:t>
            </a:r>
            <a:endParaRPr lang="de-AT" dirty="0" smtClean="0"/>
          </a:p>
          <a:p>
            <a:r>
              <a:rPr lang="de-AT" dirty="0" smtClean="0"/>
              <a:t>Manche Controls(Combobox) auch </a:t>
            </a:r>
            <a:r>
              <a:rPr lang="de-AT" b="1" dirty="0" smtClean="0">
                <a:solidFill>
                  <a:srgbClr val="FF0000"/>
                </a:solidFill>
              </a:rPr>
              <a:t>Datensatzherkunft</a:t>
            </a:r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Alle Controls haben also zugewiesene Models,</a:t>
            </a:r>
            <a:br>
              <a:rPr lang="de-AT" dirty="0" smtClean="0"/>
            </a:br>
            <a:r>
              <a:rPr lang="de-AT" dirty="0" smtClean="0"/>
              <a:t>mit denen Daten getauscht werden.</a:t>
            </a:r>
          </a:p>
          <a:p>
            <a:r>
              <a:rPr lang="de-AT" dirty="0" smtClean="0"/>
              <a:t>Weil dies Tabellen (Abfragen) sind, leiten sich Formulare also von der Tabellenstruktur der DB ab</a:t>
            </a:r>
            <a:endParaRPr lang="de-AT" dirty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12289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732240" y="1556792"/>
            <a:ext cx="2250697" cy="956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27584" y="3140968"/>
            <a:ext cx="7848872" cy="8353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bgerundete rechteckige Legende 9"/>
          <p:cNvSpPr/>
          <p:nvPr/>
        </p:nvSpPr>
        <p:spPr>
          <a:xfrm>
            <a:off x="6228184" y="3789040"/>
            <a:ext cx="2808312" cy="432048"/>
          </a:xfrm>
          <a:prstGeom prst="wedgeRoundRectCallout">
            <a:avLst>
              <a:gd name="adj1" fmla="val -20287"/>
              <a:gd name="adj2" fmla="val -72077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Daten beim aufklappen</a:t>
            </a:r>
            <a:endParaRPr lang="de-AT" dirty="0"/>
          </a:p>
        </p:txBody>
      </p:sp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228184" y="764704"/>
            <a:ext cx="1844675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ccess Formulare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dirty="0" smtClean="0"/>
              <a:t>Will man ein Formular Abteilungen erstellen, so verwendet man z.B. diese Tabellen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499992" y="2996952"/>
            <a:ext cx="3795713" cy="171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11560" y="2276872"/>
            <a:ext cx="3240360" cy="3639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bgerundete rechteckige Legende 9"/>
          <p:cNvSpPr/>
          <p:nvPr/>
        </p:nvSpPr>
        <p:spPr>
          <a:xfrm>
            <a:off x="5796136" y="1988840"/>
            <a:ext cx="2592288" cy="864096"/>
          </a:xfrm>
          <a:prstGeom prst="wedgeRoundRectCallout">
            <a:avLst>
              <a:gd name="adj1" fmla="val -23876"/>
              <a:gd name="adj2" fmla="val 93269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Abteilungen ist Datensatzquelle im Hauptformular</a:t>
            </a:r>
            <a:endParaRPr lang="de-AT" dirty="0"/>
          </a:p>
        </p:txBody>
      </p:sp>
      <p:cxnSp>
        <p:nvCxnSpPr>
          <p:cNvPr id="13" name="Gerade Verbindung mit Pfeil 12"/>
          <p:cNvCxnSpPr/>
          <p:nvPr/>
        </p:nvCxnSpPr>
        <p:spPr>
          <a:xfrm flipV="1">
            <a:off x="3635896" y="4077072"/>
            <a:ext cx="936104" cy="72008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8" name="Gekrümmte Verbindung 17"/>
          <p:cNvCxnSpPr/>
          <p:nvPr/>
        </p:nvCxnSpPr>
        <p:spPr>
          <a:xfrm>
            <a:off x="827584" y="2708920"/>
            <a:ext cx="5040560" cy="936104"/>
          </a:xfrm>
          <a:prstGeom prst="curvedConnector3">
            <a:avLst>
              <a:gd name="adj1" fmla="val 88549"/>
            </a:avLst>
          </a:prstGeom>
          <a:ln>
            <a:headEnd type="arrow"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30" name="Abgerundete rechteckige Legende 29"/>
          <p:cNvSpPr/>
          <p:nvPr/>
        </p:nvSpPr>
        <p:spPr>
          <a:xfrm>
            <a:off x="3851920" y="4725144"/>
            <a:ext cx="2592288" cy="1152128"/>
          </a:xfrm>
          <a:prstGeom prst="wedgeRoundRectCallout">
            <a:avLst>
              <a:gd name="adj1" fmla="val -58415"/>
              <a:gd name="adj2" fmla="val -30151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Pro Abteilungen gibt es nur einen  Leiter, daher die Lehrerdaten in einer Combobox</a:t>
            </a:r>
            <a:endParaRPr lang="de-AT" dirty="0"/>
          </a:p>
        </p:txBody>
      </p:sp>
      <p:sp>
        <p:nvSpPr>
          <p:cNvPr id="31" name="Abgerundete rechteckige Legende 30"/>
          <p:cNvSpPr/>
          <p:nvPr/>
        </p:nvSpPr>
        <p:spPr>
          <a:xfrm>
            <a:off x="6588224" y="4725144"/>
            <a:ext cx="2448272" cy="1152128"/>
          </a:xfrm>
          <a:prstGeom prst="wedgeRoundRectCallout">
            <a:avLst>
              <a:gd name="adj1" fmla="val -22774"/>
              <a:gd name="adj2" fmla="val -67943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Pro Abteilungen gibt es mehrere Klassen </a:t>
            </a:r>
            <a:r>
              <a:rPr lang="de-AT" dirty="0" smtClean="0">
                <a:sym typeface="Wingdings" pitchFamily="2" charset="2"/>
              </a:rPr>
              <a:t></a:t>
            </a:r>
            <a:endParaRPr lang="de-AT" dirty="0" smtClean="0"/>
          </a:p>
          <a:p>
            <a:pPr algn="ctr"/>
            <a:r>
              <a:rPr lang="de-AT" dirty="0" smtClean="0"/>
              <a:t>daher Unterformular</a:t>
            </a:r>
            <a:endParaRPr lang="de-AT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ccess Formulare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dirty="0" smtClean="0"/>
              <a:t>Wie kann man bei Comboboxen mehrere Daten zeigen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3568" y="1556792"/>
            <a:ext cx="3240360" cy="3639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770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211960" y="2636912"/>
            <a:ext cx="4024313" cy="350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771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228184" y="5013176"/>
            <a:ext cx="2347913" cy="1173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Abgerundete rechteckige Legende 15"/>
          <p:cNvSpPr/>
          <p:nvPr/>
        </p:nvSpPr>
        <p:spPr>
          <a:xfrm>
            <a:off x="4139952" y="3068960"/>
            <a:ext cx="4392488" cy="1008112"/>
          </a:xfrm>
          <a:prstGeom prst="wedgeRoundRectCallout">
            <a:avLst>
              <a:gd name="adj1" fmla="val -59587"/>
              <a:gd name="adj2" fmla="val 38824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Combobox Abteilungsleiter  hat 2 Ausgabespalten (siehe oben) , </a:t>
            </a:r>
            <a:br>
              <a:rPr lang="de-AT" dirty="0" smtClean="0"/>
            </a:br>
            <a:r>
              <a:rPr lang="de-AT" dirty="0" smtClean="0"/>
              <a:t>die erste wird gezeigt</a:t>
            </a:r>
          </a:p>
        </p:txBody>
      </p:sp>
      <p:sp>
        <p:nvSpPr>
          <p:cNvPr id="17" name="Abgerundete rechteckige Legende 16"/>
          <p:cNvSpPr/>
          <p:nvPr/>
        </p:nvSpPr>
        <p:spPr>
          <a:xfrm>
            <a:off x="4139952" y="4149080"/>
            <a:ext cx="4392488" cy="792088"/>
          </a:xfrm>
          <a:prstGeom prst="wedgeRoundRectCallout">
            <a:avLst>
              <a:gd name="adj1" fmla="val -59409"/>
              <a:gd name="adj2" fmla="val -19166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Dieses berechnete Feld zeigt den Wert der 2. Spalte</a:t>
            </a:r>
            <a:endParaRPr lang="de-AT" dirty="0"/>
          </a:p>
        </p:txBody>
      </p:sp>
      <p:pic>
        <p:nvPicPr>
          <p:cNvPr id="32772" name="Picture 4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915816" y="5301208"/>
            <a:ext cx="2454275" cy="968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ZQUTYFKESgvC81jUT6uQ"/>
</p:tagLst>
</file>

<file path=ppt/theme/theme1.xml><?xml version="1.0" encoding="utf-8"?>
<a:theme xmlns:a="http://schemas.openxmlformats.org/drawingml/2006/main" name="HTL Spengergasse Vorlage V01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TL Spengergasse Vorlage V01</Template>
  <TotalTime>0</TotalTime>
  <Words>1269</Words>
  <Application>Microsoft Office PowerPoint</Application>
  <PresentationFormat>Bildschirmpräsentation (4:3)</PresentationFormat>
  <Paragraphs>206</Paragraphs>
  <Slides>14</Slides>
  <Notes>13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15" baseType="lpstr">
      <vt:lpstr>HTL Spengergasse Vorlage V01</vt:lpstr>
      <vt:lpstr>DBIS2 –  Datenbanken und Informationssysteme</vt:lpstr>
      <vt:lpstr>Lernziele</vt:lpstr>
      <vt:lpstr>Layout in Access Formularen</vt:lpstr>
      <vt:lpstr>Layout in Access Formularen</vt:lpstr>
      <vt:lpstr>Layout in Access Formularen</vt:lpstr>
      <vt:lpstr>Folie 6</vt:lpstr>
      <vt:lpstr>Access Formulare</vt:lpstr>
      <vt:lpstr>Access Formulare</vt:lpstr>
      <vt:lpstr>Access Formulare</vt:lpstr>
      <vt:lpstr>Access Formulare</vt:lpstr>
      <vt:lpstr>Übung1: Erstellen Sie das folgende Formular</vt:lpstr>
      <vt:lpstr>Übung 2 Erstellen Sie das folgende Formular</vt:lpstr>
      <vt:lpstr>Übung 3 in simples Startformular</vt:lpstr>
      <vt:lpstr>Übung 3 in simples Startformular</vt:lpstr>
    </vt:vector>
  </TitlesOfParts>
  <Company>hom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BIS2 –  Datenbanken und Informationssysteme</dc:title>
  <dc:creator>Divi</dc:creator>
  <cp:lastModifiedBy>psad</cp:lastModifiedBy>
  <cp:revision>358</cp:revision>
  <dcterms:created xsi:type="dcterms:W3CDTF">2010-09-09T10:26:00Z</dcterms:created>
  <dcterms:modified xsi:type="dcterms:W3CDTF">2012-05-11T07:57:49Z</dcterms:modified>
</cp:coreProperties>
</file>